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77" r:id="rId2"/>
    <p:sldId id="276" r:id="rId3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A34B"/>
    <a:srgbClr val="325929"/>
    <a:srgbClr val="5E5A59"/>
    <a:srgbClr val="003300"/>
    <a:srgbClr val="CCFF33"/>
    <a:srgbClr val="A67C52"/>
    <a:srgbClr val="009900"/>
    <a:srgbClr val="0066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99467" autoAdjust="0"/>
  </p:normalViewPr>
  <p:slideViewPr>
    <p:cSldViewPr>
      <p:cViewPr>
        <p:scale>
          <a:sx n="70" d="100"/>
          <a:sy n="70" d="100"/>
        </p:scale>
        <p:origin x="-1398" y="-17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05C379-EFC7-450A-A9B3-08CBDD3299FF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F8B65A-06DC-40C9-A6BE-51EC3A3AF5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80002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0799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874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3417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>
            <a:normAutofit/>
          </a:bodyPr>
          <a:lstStyle>
            <a:lvl1pPr algn="l"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8229600" cy="5059363"/>
          </a:xfrm>
        </p:spPr>
        <p:txBody>
          <a:bodyPr>
            <a:normAutofit/>
          </a:bodyPr>
          <a:lstStyle>
            <a:lvl1pPr marL="166688" indent="-166688">
              <a:defRPr sz="1400"/>
            </a:lvl1pPr>
            <a:lvl2pPr marL="285750" indent="-177800">
              <a:defRPr sz="1400"/>
            </a:lvl2pPr>
            <a:lvl3pPr marL="511175" indent="-166688">
              <a:defRPr sz="1400"/>
            </a:lvl3pPr>
            <a:lvl4pPr marL="688975" indent="-177800">
              <a:defRPr sz="1400"/>
            </a:lvl4pPr>
            <a:lvl5pPr marL="973138" indent="-177800"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9076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812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503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927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29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4272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5726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454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F005B7-32F7-47AC-8CD9-B97B6793C181}" type="datetimeFigureOut">
              <a:rPr lang="en-US" smtClean="0"/>
              <a:t>7/22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7F49D9-984B-4E9A-BAE6-3F00B7375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310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90900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>
            <p:custDataLst>
              <p:tags r:id="rId3"/>
            </p:custDataLst>
          </p:nvPr>
        </p:nvSpPr>
        <p:spPr>
          <a:xfrm>
            <a:off x="609600" y="1447800"/>
            <a:ext cx="7924800" cy="33528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838200" y="1600200"/>
            <a:ext cx="7467600" cy="5059363"/>
          </a:xfrm>
        </p:spPr>
        <p:txBody>
          <a:bodyPr>
            <a:normAutofit/>
          </a:bodyPr>
          <a:lstStyle/>
          <a:p>
            <a:r>
              <a:rPr lang="en-US" sz="2000" b="1" dirty="0" smtClean="0"/>
              <a:t>Poverty rate: </a:t>
            </a:r>
            <a:r>
              <a:rPr lang="en-US" sz="2000" dirty="0" smtClean="0"/>
              <a:t>56% population living under poverty line (vs. 43% of total rural population)</a:t>
            </a:r>
          </a:p>
          <a:p>
            <a:endParaRPr lang="en-US" sz="2000" dirty="0" smtClean="0"/>
          </a:p>
          <a:p>
            <a:r>
              <a:rPr lang="en-US" sz="2000" b="1" dirty="0" smtClean="0"/>
              <a:t>Logistical ease </a:t>
            </a:r>
            <a:r>
              <a:rPr lang="en-US" sz="2000" dirty="0" smtClean="0"/>
              <a:t>for set-up activities and cross-country management (~200 miles from Kampala-</a:t>
            </a:r>
            <a:r>
              <a:rPr lang="en-US" sz="2000" dirty="0" err="1" smtClean="0"/>
              <a:t>Mbale</a:t>
            </a:r>
            <a:r>
              <a:rPr lang="en-US" sz="2000" dirty="0" smtClean="0"/>
              <a:t> and </a:t>
            </a:r>
            <a:r>
              <a:rPr lang="en-US" sz="2000" dirty="0" err="1" smtClean="0"/>
              <a:t>Mbale</a:t>
            </a:r>
            <a:r>
              <a:rPr lang="en-US" sz="2000" dirty="0" smtClean="0"/>
              <a:t>-Kisumu)</a:t>
            </a:r>
          </a:p>
          <a:p>
            <a:endParaRPr lang="en-US" sz="2000" dirty="0" smtClean="0"/>
          </a:p>
          <a:p>
            <a:r>
              <a:rPr lang="en-US" sz="2000" b="1" dirty="0" smtClean="0"/>
              <a:t>Minimum security for staff </a:t>
            </a:r>
            <a:r>
              <a:rPr lang="en-US" sz="2000" dirty="0" smtClean="0"/>
              <a:t>(i.e., avoid Northern region and border areas with DRC) </a:t>
            </a:r>
            <a:endParaRPr lang="en-US" sz="2000" dirty="0"/>
          </a:p>
          <a:p>
            <a:endParaRPr lang="en-US" sz="2000" dirty="0" smtClean="0"/>
          </a:p>
        </p:txBody>
      </p:sp>
      <p:sp>
        <p:nvSpPr>
          <p:cNvPr id="6" name="Title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28600" y="152400"/>
            <a:ext cx="8212031" cy="5635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dirty="0"/>
              <a:t>Factors that informed decision to locate initial campaign in </a:t>
            </a:r>
            <a:r>
              <a:rPr lang="en-US" sz="1800" dirty="0" err="1"/>
              <a:t>Bukedea</a:t>
            </a:r>
            <a:r>
              <a:rPr lang="en-US" sz="1800" dirty="0"/>
              <a:t> County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492839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6C0B1097-986D-DA4A-9C85-18ED64973339}" type="slidenum">
              <a:rPr lang="en-US" smtClean="0"/>
              <a:pPr algn="r"/>
              <a:t>2</a:t>
            </a:fld>
            <a:endParaRPr lang="en-US"/>
          </a:p>
        </p:txBody>
      </p:sp>
      <p:sp>
        <p:nvSpPr>
          <p:cNvPr id="11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28600" y="152400"/>
            <a:ext cx="8212031" cy="5635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dirty="0" smtClean="0"/>
              <a:t>Uganda: </a:t>
            </a:r>
            <a:r>
              <a:rPr lang="en-US" sz="1800" dirty="0" smtClean="0"/>
              <a:t>regional and county/sub-county level poverty incidence</a:t>
            </a:r>
            <a:endParaRPr lang="en-US" sz="1800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852" y="618519"/>
            <a:ext cx="4334615" cy="6163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1451" y="609600"/>
            <a:ext cx="4125349" cy="586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val 1"/>
          <p:cNvSpPr/>
          <p:nvPr/>
        </p:nvSpPr>
        <p:spPr>
          <a:xfrm>
            <a:off x="2819401" y="2438400"/>
            <a:ext cx="1447799" cy="17526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 rot="1175070">
            <a:off x="6988336" y="2476500"/>
            <a:ext cx="571500" cy="8763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55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0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VCSB8X70e.mpnAa9KB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gH8MvAr0.fJ3EhTVbu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fCdi1eo0.rbTNPu0y8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fCdi1eo0.rbTNPu0y8nQ"/>
</p:tagLst>
</file>

<file path=ppt/theme/theme1.xml><?xml version="1.0" encoding="utf-8"?>
<a:theme xmlns:a="http://schemas.openxmlformats.org/drawingml/2006/main" name="Office Theme">
  <a:themeElements>
    <a:clrScheme name="GiveDirectly">
      <a:dk1>
        <a:srgbClr val="000000"/>
      </a:dk1>
      <a:lt1>
        <a:sysClr val="window" lastClr="FFFFFF"/>
      </a:lt1>
      <a:dk2>
        <a:srgbClr val="325929"/>
      </a:dk2>
      <a:lt2>
        <a:srgbClr val="5DA34B"/>
      </a:lt2>
      <a:accent1>
        <a:srgbClr val="5E5A59"/>
      </a:accent1>
      <a:accent2>
        <a:srgbClr val="A67C52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428</TotalTime>
  <Words>72</Words>
  <Application>Microsoft Office PowerPoint</Application>
  <PresentationFormat>On-screen Show (4:3)</PresentationFormat>
  <Paragraphs>8</Paragraphs>
  <Slides>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veDirectly</dc:creator>
  <cp:lastModifiedBy>Joy Sun</cp:lastModifiedBy>
  <cp:revision>651</cp:revision>
  <dcterms:created xsi:type="dcterms:W3CDTF">2012-09-01T19:40:50Z</dcterms:created>
  <dcterms:modified xsi:type="dcterms:W3CDTF">2013-07-23T02:3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